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56" r:id="rId5"/>
    <p:sldId id="260" r:id="rId6"/>
    <p:sldId id="261" r:id="rId7"/>
  </p:sldIdLst>
  <p:sldSz cx="12192000" cy="6858000"/>
  <p:notesSz cx="6858000" cy="9144000"/>
  <p:custDataLst>
    <p:tags r:id="rId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8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seeb Jamal" initials="HJ" lastIdx="1" clrIdx="0">
    <p:extLst>
      <p:ext uri="{19B8F6BF-5375-455C-9EA6-DF929625EA0E}">
        <p15:presenceInfo xmlns:p15="http://schemas.microsoft.com/office/powerpoint/2012/main" userId="e0f8a1e5ce9f241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C0DE"/>
    <a:srgbClr val="399DD9"/>
    <a:srgbClr val="E5E5E5"/>
    <a:srgbClr val="595959"/>
    <a:srgbClr val="004E75"/>
    <a:srgbClr val="03363D"/>
    <a:srgbClr val="3071AD"/>
    <a:srgbClr val="D7071E"/>
    <a:srgbClr val="679E2A"/>
    <a:srgbClr val="1D6B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551CC0-0C1E-4179-BF25-91D1C95D6CEB}" v="1" dt="2019-12-18T07:03:25.1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80167" autoAdjust="0"/>
  </p:normalViewPr>
  <p:slideViewPr>
    <p:cSldViewPr snapToGrid="0">
      <p:cViewPr varScale="1">
        <p:scale>
          <a:sx n="114" d="100"/>
          <a:sy n="114" d="100"/>
        </p:scale>
        <p:origin x="438" y="102"/>
      </p:cViewPr>
      <p:guideLst>
        <p:guide orient="horz" pos="278"/>
        <p:guide pos="3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78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E9EDC0-0500-4073-B2E4-A74618207462}" type="datetimeFigureOut">
              <a:rPr lang="nb-NO" smtClean="0"/>
              <a:t>26.03.2020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5A42F5-EEEE-4812-BB46-9F2B13223FB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.xml"/><Relationship Id="rId7" Type="http://schemas.openxmlformats.org/officeDocument/2006/relationships/image" Target="../media/image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.xml"/><Relationship Id="rId7" Type="http://schemas.openxmlformats.org/officeDocument/2006/relationships/image" Target="../media/image8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8.xml"/><Relationship Id="rId7" Type="http://schemas.openxmlformats.org/officeDocument/2006/relationships/image" Target="../media/image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10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2.xml"/><Relationship Id="rId7" Type="http://schemas.openxmlformats.org/officeDocument/2006/relationships/image" Target="../media/image11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.xml"/><Relationship Id="rId7" Type="http://schemas.openxmlformats.org/officeDocument/2006/relationships/image" Target="../media/image12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13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image" Target="../media/image14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6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6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FCC141-B9C3-4F9E-A5E7-ED3F26F57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295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FCC141-B9C3-4F9E-A5E7-ED3F26F57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D722E51B-D36E-460B-A478-5F36E508BD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7" name="Picture 16" descr="A view of a building&#10;&#10;Description generated with high confidence">
            <a:extLst>
              <a:ext uri="{FF2B5EF4-FFF2-40B4-BE49-F238E27FC236}">
                <a16:creationId xmlns:a16="http://schemas.microsoft.com/office/drawing/2014/main" id="{12CEB6F6-2A74-4E53-9F0C-A0A1BDA23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3933825"/>
          </a:xfrm>
          <a:prstGeom prst="rect">
            <a:avLst/>
          </a:prstGeom>
        </p:spPr>
      </p:pic>
      <p:pic>
        <p:nvPicPr>
          <p:cNvPr id="29" name="Picture 28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33508E9F-039F-4AB8-AE64-50F666493E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223" y="5159404"/>
            <a:ext cx="4200527" cy="123831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9F006852-7CA3-422C-BFF8-2B52AC9A05D4}"/>
              </a:ext>
            </a:extLst>
          </p:cNvPr>
          <p:cNvSpPr/>
          <p:nvPr userDrawn="1"/>
        </p:nvSpPr>
        <p:spPr>
          <a:xfrm>
            <a:off x="573404" y="743584"/>
            <a:ext cx="5208271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4000" b="1" dirty="0">
              <a:latin typeface="Bahnschrift" panose="020B0502040204020203" pitchFamily="34" charset="0"/>
            </a:endParaRPr>
          </a:p>
        </p:txBody>
      </p:sp>
      <p:sp>
        <p:nvSpPr>
          <p:cNvPr id="31" name="Text Placeholder 42">
            <a:extLst>
              <a:ext uri="{FF2B5EF4-FFF2-40B4-BE49-F238E27FC236}">
                <a16:creationId xmlns:a16="http://schemas.microsoft.com/office/drawing/2014/main" id="{E253113E-AC50-48C6-9DDC-9066785F9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404" y="4979041"/>
            <a:ext cx="5208271" cy="655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/Date/Speaker’s Name</a:t>
            </a:r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637F3A9-84C6-4BF7-B3AB-FF8C1CD713DB}"/>
              </a:ext>
            </a:extLst>
          </p:cNvPr>
          <p:cNvCxnSpPr>
            <a:cxnSpLocks/>
          </p:cNvCxnSpPr>
          <p:nvPr userDrawn="1"/>
        </p:nvCxnSpPr>
        <p:spPr>
          <a:xfrm>
            <a:off x="5781675" y="3933825"/>
            <a:ext cx="641032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2">
            <a:extLst>
              <a:ext uri="{FF2B5EF4-FFF2-40B4-BE49-F238E27FC236}">
                <a16:creationId xmlns:a16="http://schemas.microsoft.com/office/drawing/2014/main" id="{02C21305-8A77-4FF0-882C-C15D2402E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13141"/>
            <a:ext cx="4581526" cy="3520759"/>
          </a:xfrm>
          <a:prstGeom prst="rect">
            <a:avLst/>
          </a:prstGeo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5B30613-42A0-448F-80B5-E03F38D06D43}"/>
              </a:ext>
            </a:extLst>
          </p:cNvPr>
          <p:cNvCxnSpPr>
            <a:cxnSpLocks/>
          </p:cNvCxnSpPr>
          <p:nvPr userDrawn="1"/>
        </p:nvCxnSpPr>
        <p:spPr>
          <a:xfrm>
            <a:off x="-1" y="3933825"/>
            <a:ext cx="57340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4973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rvices/List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64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882B13-42B8-4BBB-A3DA-58733719A9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9" y="1775459"/>
            <a:ext cx="12193449" cy="249174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85A6FDA5-8AA4-49D5-9AB1-57580CB479C2}"/>
              </a:ext>
            </a:extLst>
          </p:cNvPr>
          <p:cNvSpPr/>
          <p:nvPr userDrawn="1"/>
        </p:nvSpPr>
        <p:spPr>
          <a:xfrm>
            <a:off x="1173480" y="177545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i="1" dirty="0"/>
          </a:p>
        </p:txBody>
      </p:sp>
      <p:sp>
        <p:nvSpPr>
          <p:cNvPr id="32" name="Rubrik 1">
            <a:extLst>
              <a:ext uri="{FF2B5EF4-FFF2-40B4-BE49-F238E27FC236}">
                <a16:creationId xmlns:a16="http://schemas.microsoft.com/office/drawing/2014/main" id="{C80E914A-F41C-4C2F-9E22-EB260CFC94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F1328D4-6F74-4D5B-B579-9EEBCE2FE8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6050" y="2069222"/>
            <a:ext cx="2660650" cy="3404478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3692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rvices/List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308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5" name="Picture 4" descr="A person in a blue shirt&#10;&#10;Description generated with high confidence">
            <a:extLst>
              <a:ext uri="{FF2B5EF4-FFF2-40B4-BE49-F238E27FC236}">
                <a16:creationId xmlns:a16="http://schemas.microsoft.com/office/drawing/2014/main" id="{5ADBA437-2448-45E4-BFB0-CF62FF917D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75459"/>
            <a:ext cx="12192000" cy="248539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85A6FDA5-8AA4-49D5-9AB1-57580CB479C2}"/>
              </a:ext>
            </a:extLst>
          </p:cNvPr>
          <p:cNvSpPr/>
          <p:nvPr userDrawn="1"/>
        </p:nvSpPr>
        <p:spPr>
          <a:xfrm>
            <a:off x="1173480" y="177545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i="1" dirty="0"/>
          </a:p>
        </p:txBody>
      </p:sp>
      <p:sp>
        <p:nvSpPr>
          <p:cNvPr id="32" name="Rubrik 1">
            <a:extLst>
              <a:ext uri="{FF2B5EF4-FFF2-40B4-BE49-F238E27FC236}">
                <a16:creationId xmlns:a16="http://schemas.microsoft.com/office/drawing/2014/main" id="{C80E914A-F41C-4C2F-9E22-EB260CFC94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9DC3A25-EB57-40EC-B5D6-AB3FEAD60C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6050" y="2069221"/>
            <a:ext cx="2660650" cy="3903315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1245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rvices/List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99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5" name="Picture 4" descr="A picture containing bird, water&#10;&#10;Description generated with high confidence">
            <a:extLst>
              <a:ext uri="{FF2B5EF4-FFF2-40B4-BE49-F238E27FC236}">
                <a16:creationId xmlns:a16="http://schemas.microsoft.com/office/drawing/2014/main" id="{1E43AD55-0FDA-40DC-893B-42652B5A1E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75458"/>
            <a:ext cx="12192000" cy="249174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85A6FDA5-8AA4-49D5-9AB1-57580CB479C2}"/>
              </a:ext>
            </a:extLst>
          </p:cNvPr>
          <p:cNvSpPr/>
          <p:nvPr userDrawn="1"/>
        </p:nvSpPr>
        <p:spPr>
          <a:xfrm>
            <a:off x="1173480" y="177545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i="1" dirty="0"/>
          </a:p>
        </p:txBody>
      </p:sp>
      <p:sp>
        <p:nvSpPr>
          <p:cNvPr id="32" name="Rubrik 1">
            <a:extLst>
              <a:ext uri="{FF2B5EF4-FFF2-40B4-BE49-F238E27FC236}">
                <a16:creationId xmlns:a16="http://schemas.microsoft.com/office/drawing/2014/main" id="{C80E914A-F41C-4C2F-9E22-EB260CFC94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F1328D4-6F74-4D5B-B579-9EEBCE2FE8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6050" y="2069222"/>
            <a:ext cx="2660650" cy="3404478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1220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rvices/List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1863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13" name="Picture 12" descr="A picture containing person, indoor&#10;&#10;Description generated with very high confidence">
            <a:extLst>
              <a:ext uri="{FF2B5EF4-FFF2-40B4-BE49-F238E27FC236}">
                <a16:creationId xmlns:a16="http://schemas.microsoft.com/office/drawing/2014/main" id="{ADCB43D9-8A03-462B-B1FE-89C399C2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75459"/>
            <a:ext cx="12192000" cy="249174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85A6FDA5-8AA4-49D5-9AB1-57580CB479C2}"/>
              </a:ext>
            </a:extLst>
          </p:cNvPr>
          <p:cNvSpPr/>
          <p:nvPr userDrawn="1"/>
        </p:nvSpPr>
        <p:spPr>
          <a:xfrm>
            <a:off x="1173480" y="177545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i="1" dirty="0"/>
          </a:p>
        </p:txBody>
      </p:sp>
      <p:sp>
        <p:nvSpPr>
          <p:cNvPr id="32" name="Rubrik 1">
            <a:extLst>
              <a:ext uri="{FF2B5EF4-FFF2-40B4-BE49-F238E27FC236}">
                <a16:creationId xmlns:a16="http://schemas.microsoft.com/office/drawing/2014/main" id="{C80E914A-F41C-4C2F-9E22-EB260CFC94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F1328D4-6F74-4D5B-B579-9EEBCE2FE8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16050" y="2069222"/>
            <a:ext cx="2660650" cy="3404478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000" b="1">
                <a:solidFill>
                  <a:schemeClr val="bg1"/>
                </a:solidFill>
                <a:latin typeface="Bahnschrift" panose="020B0502040204020203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5830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579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14" name="Picture 13" descr="A picture containing man&#10;&#10;Description generated with very high confidence">
            <a:extLst>
              <a:ext uri="{FF2B5EF4-FFF2-40B4-BE49-F238E27FC236}">
                <a16:creationId xmlns:a16="http://schemas.microsoft.com/office/drawing/2014/main" id="{F6927DF8-C31E-4FFF-93A7-5D9904F21C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75459"/>
            <a:ext cx="12192000" cy="249174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ubrik 1">
            <a:extLst>
              <a:ext uri="{FF2B5EF4-FFF2-40B4-BE49-F238E27FC236}">
                <a16:creationId xmlns:a16="http://schemas.microsoft.com/office/drawing/2014/main" id="{37F7F0F3-2D7E-4FE2-889F-1745D12FE9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6FD3A6-8E01-465D-8261-7EE793DD0875}"/>
              </a:ext>
            </a:extLst>
          </p:cNvPr>
          <p:cNvSpPr/>
          <p:nvPr userDrawn="1"/>
        </p:nvSpPr>
        <p:spPr>
          <a:xfrm>
            <a:off x="1173480" y="174370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Bahnschrift" panose="020B0502040204020203" pitchFamily="34" charset="0"/>
              </a:rPr>
              <a:t>“IT ALWAYS SEEMS IMPOSSIBLE UNTIL IT IS DONE.”</a:t>
            </a:r>
          </a:p>
          <a:p>
            <a:pPr algn="r"/>
            <a:r>
              <a:rPr lang="en-GB" sz="1600" dirty="0">
                <a:latin typeface="Bahnschrift" panose="020B0502040204020203" pitchFamily="34" charset="0"/>
              </a:rPr>
              <a:t>-</a:t>
            </a:r>
            <a:r>
              <a:rPr lang="en-GB" sz="1600" i="1" dirty="0"/>
              <a:t> Nelson Mandela</a:t>
            </a:r>
          </a:p>
        </p:txBody>
      </p:sp>
    </p:spTree>
    <p:extLst>
      <p:ext uri="{BB962C8B-B14F-4D97-AF65-F5344CB8AC3E}">
        <p14:creationId xmlns:p14="http://schemas.microsoft.com/office/powerpoint/2010/main" val="4030697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75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5" name="Picture 4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595C110D-1508-43A9-880F-0DB16B17C3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50059"/>
            <a:ext cx="12192000" cy="2491742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A75F0BA-9BC4-40E2-A0D0-34D8CD8DFDDE}"/>
              </a:ext>
            </a:extLst>
          </p:cNvPr>
          <p:cNvSpPr/>
          <p:nvPr userDrawn="1"/>
        </p:nvSpPr>
        <p:spPr>
          <a:xfrm>
            <a:off x="1173480" y="174370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Bahnschrift" panose="020B0502040204020203" pitchFamily="34" charset="0"/>
              </a:rPr>
              <a:t>“INNOVATION DISTINGUISHES BETWEEN A LEADER AND A FOLLOWER.”</a:t>
            </a:r>
          </a:p>
          <a:p>
            <a:pPr algn="r"/>
            <a:r>
              <a:rPr lang="en-GB" sz="1600" dirty="0">
                <a:latin typeface="Bahnschrift" panose="020B0502040204020203" pitchFamily="34" charset="0"/>
              </a:rPr>
              <a:t>-</a:t>
            </a:r>
            <a:r>
              <a:rPr lang="en-GB" sz="1600" i="1" dirty="0"/>
              <a:t> Steve Jobs</a:t>
            </a:r>
          </a:p>
        </p:txBody>
      </p:sp>
      <p:sp>
        <p:nvSpPr>
          <p:cNvPr id="20" name="Rubrik 1">
            <a:extLst>
              <a:ext uri="{FF2B5EF4-FFF2-40B4-BE49-F238E27FC236}">
                <a16:creationId xmlns:a16="http://schemas.microsoft.com/office/drawing/2014/main" id="{CBB3DC80-5EC2-4C92-8D38-286E008DB2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36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7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FE5021-37FC-4CA9-BB66-C0CFBC38D1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743709"/>
            <a:ext cx="12192000" cy="249174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60EEDE7-3A31-4A94-80A3-01039DB5A5E5}"/>
              </a:ext>
            </a:extLst>
          </p:cNvPr>
          <p:cNvSpPr/>
          <p:nvPr userDrawn="1"/>
        </p:nvSpPr>
        <p:spPr>
          <a:xfrm>
            <a:off x="1173480" y="174370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Bahnschrift" panose="020B0502040204020203" pitchFamily="34" charset="0"/>
              </a:rPr>
              <a:t>“EVERYTHING IS GOING TO BE CONNTECTED TO CLOUD AND DATA. </a:t>
            </a:r>
          </a:p>
          <a:p>
            <a:pPr algn="ctr"/>
            <a:r>
              <a:rPr lang="en-GB" sz="2400" b="1" dirty="0">
                <a:latin typeface="Bahnschrift" panose="020B0502040204020203" pitchFamily="34" charset="0"/>
              </a:rPr>
              <a:t>ALL OF THIS WILL MEDIATED BY SOFTWARE.”</a:t>
            </a:r>
          </a:p>
          <a:p>
            <a:pPr algn="r"/>
            <a:r>
              <a:rPr lang="en-GB" sz="1600" dirty="0">
                <a:latin typeface="Bahnschrift" panose="020B0502040204020203" pitchFamily="34" charset="0"/>
              </a:rPr>
              <a:t>-</a:t>
            </a:r>
            <a:r>
              <a:rPr lang="en-GB" sz="1600" i="1" dirty="0"/>
              <a:t> Satya Nadella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2C1BC608-77C8-41E7-899A-6A8254794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896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451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12" name="Picture 11" descr="Water next to the ocean&#10;&#10;Description generated with high confidence">
            <a:extLst>
              <a:ext uri="{FF2B5EF4-FFF2-40B4-BE49-F238E27FC236}">
                <a16:creationId xmlns:a16="http://schemas.microsoft.com/office/drawing/2014/main" id="{50F410DE-F380-4D11-8BB5-E0F265FD48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43708"/>
            <a:ext cx="12192000" cy="249174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2C1BC608-77C8-41E7-899A-6A8254794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57A6AE-DC08-460C-8C11-C8F34E7DB51A}"/>
              </a:ext>
            </a:extLst>
          </p:cNvPr>
          <p:cNvSpPr/>
          <p:nvPr userDrawn="1"/>
        </p:nvSpPr>
        <p:spPr>
          <a:xfrm>
            <a:off x="1173480" y="174370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latin typeface="Bahnschrift" panose="020B0502040204020203" pitchFamily="34" charset="0"/>
              </a:rPr>
              <a:t>“INTELLIGENCE IS THE ABILITY </a:t>
            </a:r>
            <a:br>
              <a:rPr lang="en-GB" sz="2400" b="1" dirty="0">
                <a:latin typeface="Bahnschrift" panose="020B0502040204020203" pitchFamily="34" charset="0"/>
              </a:rPr>
            </a:br>
            <a:r>
              <a:rPr lang="en-GB" sz="2400" b="1" dirty="0">
                <a:latin typeface="Bahnschrift" panose="020B0502040204020203" pitchFamily="34" charset="0"/>
              </a:rPr>
              <a:t>TO ADAPT  </a:t>
            </a:r>
            <a:br>
              <a:rPr lang="en-GB" sz="2400" b="1" dirty="0">
                <a:latin typeface="Bahnschrift" panose="020B0502040204020203" pitchFamily="34" charset="0"/>
              </a:rPr>
            </a:br>
            <a:r>
              <a:rPr lang="en-GB" sz="2400" b="1" dirty="0">
                <a:latin typeface="Bahnschrift" panose="020B0502040204020203" pitchFamily="34" charset="0"/>
              </a:rPr>
              <a:t>TO CHANGE.”</a:t>
            </a:r>
          </a:p>
          <a:p>
            <a:pPr algn="r"/>
            <a:r>
              <a:rPr lang="en-GB" sz="1600" dirty="0">
                <a:latin typeface="Bahnschrift" panose="020B0502040204020203" pitchFamily="34" charset="0"/>
              </a:rPr>
              <a:t>-</a:t>
            </a:r>
            <a:r>
              <a:rPr lang="en-GB" sz="1600" i="1" dirty="0"/>
              <a:t> Stephen Hawking</a:t>
            </a:r>
          </a:p>
        </p:txBody>
      </p:sp>
    </p:spTree>
    <p:extLst>
      <p:ext uri="{BB962C8B-B14F-4D97-AF65-F5344CB8AC3E}">
        <p14:creationId xmlns:p14="http://schemas.microsoft.com/office/powerpoint/2010/main" val="40974432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449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4B0102-BA40-44EC-BC17-E5578AEB31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43708"/>
            <a:ext cx="12184380" cy="2491741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2C1BC608-77C8-41E7-899A-6A8254794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0120" y="4538525"/>
            <a:ext cx="643763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57A6AE-DC08-460C-8C11-C8F34E7DB51A}"/>
              </a:ext>
            </a:extLst>
          </p:cNvPr>
          <p:cNvSpPr/>
          <p:nvPr userDrawn="1"/>
        </p:nvSpPr>
        <p:spPr>
          <a:xfrm>
            <a:off x="1173480" y="1743709"/>
            <a:ext cx="3185160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i="0" dirty="0">
                <a:latin typeface="Bahnschrift" panose="020B0502040204020203" pitchFamily="34" charset="0"/>
              </a:rPr>
              <a:t>THANK YOU!</a:t>
            </a:r>
            <a:endParaRPr lang="en-GB" sz="1600" i="0" dirty="0"/>
          </a:p>
        </p:txBody>
      </p:sp>
    </p:spTree>
    <p:extLst>
      <p:ext uri="{BB962C8B-B14F-4D97-AF65-F5344CB8AC3E}">
        <p14:creationId xmlns:p14="http://schemas.microsoft.com/office/powerpoint/2010/main" val="7878110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E5C161D-17EF-456F-B1D0-EE0EA64D53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E5C161D-17EF-456F-B1D0-EE0EA64D5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27539F-7DFC-4BBE-A4DE-9F61717742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F187AE8-EB5A-4CDD-8938-90D250005194}"/>
              </a:ext>
            </a:extLst>
          </p:cNvPr>
          <p:cNvSpPr/>
          <p:nvPr userDrawn="1"/>
        </p:nvSpPr>
        <p:spPr>
          <a:xfrm>
            <a:off x="0" y="6296896"/>
            <a:ext cx="12192000" cy="561105"/>
          </a:xfrm>
          <a:prstGeom prst="rect">
            <a:avLst/>
          </a:prstGeom>
          <a:solidFill>
            <a:srgbClr val="AFD4E2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4" indent="-342904" algn="ctr" eaLnBrk="1">
              <a:buFont typeface="+mj-lt"/>
              <a:buAutoNum type="arabicParenR"/>
            </a:pPr>
            <a:endParaRPr lang="en-US" sz="1801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3A8AFC-C2A9-4F50-B389-FBC03AD2B0E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8181" y="6349849"/>
            <a:ext cx="10865644" cy="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en-US" sz="700" b="0" u="none" strike="noStrike" kern="1200" normalizeH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3042" indent="0">
              <a:buNone/>
              <a:defRPr sz="2087" b="1"/>
            </a:lvl2pPr>
            <a:lvl3pPr marL="946083" indent="0">
              <a:buNone/>
              <a:defRPr sz="1906" b="1"/>
            </a:lvl3pPr>
            <a:lvl4pPr marL="1419125" indent="0">
              <a:buNone/>
              <a:defRPr sz="1634" b="1"/>
            </a:lvl4pPr>
            <a:lvl5pPr marL="1892166" indent="0">
              <a:buNone/>
              <a:defRPr sz="1634" b="1"/>
            </a:lvl5pPr>
            <a:lvl6pPr marL="2365206" indent="0">
              <a:buNone/>
              <a:defRPr sz="1634" b="1"/>
            </a:lvl6pPr>
            <a:lvl7pPr marL="2838249" indent="0">
              <a:buNone/>
              <a:defRPr sz="1634" b="1"/>
            </a:lvl7pPr>
            <a:lvl8pPr marL="3311291" indent="0">
              <a:buNone/>
              <a:defRPr sz="1634" b="1"/>
            </a:lvl8pPr>
            <a:lvl9pPr marL="3784332" indent="0">
              <a:buNone/>
              <a:defRPr sz="1634" b="1"/>
            </a:lvl9pPr>
          </a:lstStyle>
          <a:p>
            <a:pPr lvl="0"/>
            <a:r>
              <a:rPr lang="en-US" noProof="0"/>
              <a:t>Fill in footnote here</a:t>
            </a:r>
            <a:endParaRPr lang="en-US" noProof="0" dirty="0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0CB41B67-F1F9-42DF-88AE-EF48CE2C60F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84936" y="1268415"/>
            <a:ext cx="10848108" cy="4914178"/>
          </a:xfrm>
        </p:spPr>
        <p:txBody>
          <a:bodyPr>
            <a:noAutofit/>
          </a:bodyPr>
          <a:lstStyle>
            <a:lvl1pPr>
              <a:tabLst>
                <a:tab pos="176216" algn="l"/>
              </a:tabLst>
              <a:defRPr sz="1600"/>
            </a:lvl1pPr>
            <a:lvl2pPr marL="446094" indent="-228604">
              <a:buFont typeface="Calibri" panose="020F0502020204030204" pitchFamily="34" charset="0"/>
              <a:buChar char="−"/>
              <a:tabLst>
                <a:tab pos="176216" algn="l"/>
              </a:tabLst>
              <a:defRPr sz="1600"/>
            </a:lvl2pPr>
            <a:lvl3pPr marL="717559" indent="-228604">
              <a:buFont typeface="Wingdings" panose="05000000000000000000" pitchFamily="2" charset="2"/>
              <a:buChar char="§"/>
              <a:tabLst>
                <a:tab pos="176216" algn="l"/>
              </a:tabLst>
              <a:defRPr sz="1600"/>
            </a:lvl3pPr>
            <a:lvl4pPr marL="987438" indent="-228604">
              <a:buFont typeface="Wingdings" panose="05000000000000000000" pitchFamily="2" charset="2"/>
              <a:buChar char="ü"/>
              <a:tabLst>
                <a:tab pos="176216" algn="l"/>
              </a:tabLst>
              <a:defRPr sz="1600"/>
            </a:lvl4pPr>
            <a:lvl5pPr marL="1257315" indent="-228604">
              <a:buFont typeface="Calibri" panose="020F0502020204030204" pitchFamily="34" charset="0"/>
              <a:buChar char="−"/>
              <a:tabLst>
                <a:tab pos="176216" algn="l"/>
              </a:tabLst>
              <a:defRPr sz="1600"/>
            </a:lvl5pPr>
          </a:lstStyle>
          <a:p>
            <a:pPr lvl="0"/>
            <a:r>
              <a:rPr lang="en-US" noProof="0"/>
              <a:t>Fill in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817FF64E-2FB4-47A9-954E-DECDD67F24E5}"/>
              </a:ext>
            </a:extLst>
          </p:cNvPr>
          <p:cNvSpPr txBox="1"/>
          <p:nvPr userDrawn="1"/>
        </p:nvSpPr>
        <p:spPr>
          <a:xfrm rot="10800000" flipV="1">
            <a:off x="676276" y="31119"/>
            <a:ext cx="2641614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800" dirty="0">
                <a:solidFill>
                  <a:sysClr val="windowText" lastClr="000000"/>
                </a:solidFill>
              </a:rPr>
              <a:t>Page </a:t>
            </a:r>
            <a:fld id="{553CCC1E-E4C3-43B6-ADB0-B6F41F8BE836}" type="slidenum">
              <a:rPr lang="en-US" sz="800" smtClean="0">
                <a:solidFill>
                  <a:sysClr val="windowText" lastClr="000000"/>
                </a:solidFill>
              </a:rPr>
              <a:pPr algn="l"/>
              <a:t>‹#›</a:t>
            </a:fld>
            <a:endParaRPr lang="en-US" sz="800" dirty="0">
              <a:solidFill>
                <a:sysClr val="windowText" lastClr="000000"/>
              </a:solidFill>
            </a:endParaRP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BA914F9E-4203-4B10-BF01-BF311CC2BF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6501" y="-721"/>
            <a:ext cx="2095500" cy="914894"/>
          </a:xfrm>
          <a:prstGeom prst="rect">
            <a:avLst/>
          </a:prstGeom>
        </p:spPr>
      </p:pic>
      <p:cxnSp>
        <p:nvCxnSpPr>
          <p:cNvPr id="16" name="Rett linje 15">
            <a:extLst>
              <a:ext uri="{FF2B5EF4-FFF2-40B4-BE49-F238E27FC236}">
                <a16:creationId xmlns:a16="http://schemas.microsoft.com/office/drawing/2014/main" id="{C24C2BB7-95EA-41DE-B4D2-91B9CBEBA28A}"/>
              </a:ext>
            </a:extLst>
          </p:cNvPr>
          <p:cNvCxnSpPr/>
          <p:nvPr userDrawn="1"/>
        </p:nvCxnSpPr>
        <p:spPr>
          <a:xfrm>
            <a:off x="675411" y="1018310"/>
            <a:ext cx="1085763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lassholder for tittel 1">
            <a:extLst>
              <a:ext uri="{FF2B5EF4-FFF2-40B4-BE49-F238E27FC236}">
                <a16:creationId xmlns:a16="http://schemas.microsoft.com/office/drawing/2014/main" id="{710F54D2-3D7F-4B32-BCD0-A713B48A8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038" y="384177"/>
            <a:ext cx="9353550" cy="63500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noProof="0"/>
              <a:t>Click and fill in headin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9601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63">
          <p15:clr>
            <a:srgbClr val="FBAE40"/>
          </p15:clr>
        </p15:guide>
        <p15:guide id="2" pos="4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FCC141-B9C3-4F9E-A5E7-ED3F26F57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FCC141-B9C3-4F9E-A5E7-ED3F26F57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D722E51B-D36E-460B-A478-5F36E508BD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7" name="Picture 16" descr="A view of a building&#10;&#10;Description generated with high confidence">
            <a:extLst>
              <a:ext uri="{FF2B5EF4-FFF2-40B4-BE49-F238E27FC236}">
                <a16:creationId xmlns:a16="http://schemas.microsoft.com/office/drawing/2014/main" id="{12CEB6F6-2A74-4E53-9F0C-A0A1BDA234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3933825"/>
          </a:xfrm>
          <a:prstGeom prst="rect">
            <a:avLst/>
          </a:prstGeom>
        </p:spPr>
      </p:pic>
      <p:pic>
        <p:nvPicPr>
          <p:cNvPr id="29" name="Picture 28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33508E9F-039F-4AB8-AE64-50F666493E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223" y="5159404"/>
            <a:ext cx="4200527" cy="123831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9F006852-7CA3-422C-BFF8-2B52AC9A05D4}"/>
              </a:ext>
            </a:extLst>
          </p:cNvPr>
          <p:cNvSpPr/>
          <p:nvPr userDrawn="1"/>
        </p:nvSpPr>
        <p:spPr>
          <a:xfrm>
            <a:off x="573404" y="743584"/>
            <a:ext cx="5208271" cy="4053841"/>
          </a:xfrm>
          <a:prstGeom prst="rect">
            <a:avLst/>
          </a:prstGeom>
          <a:solidFill>
            <a:schemeClr val="accent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4000" b="1" dirty="0">
              <a:latin typeface="Bahnschrift" panose="020B0502040204020203" pitchFamily="34" charset="0"/>
            </a:endParaRPr>
          </a:p>
        </p:txBody>
      </p:sp>
      <p:sp>
        <p:nvSpPr>
          <p:cNvPr id="31" name="Text Placeholder 42">
            <a:extLst>
              <a:ext uri="{FF2B5EF4-FFF2-40B4-BE49-F238E27FC236}">
                <a16:creationId xmlns:a16="http://schemas.microsoft.com/office/drawing/2014/main" id="{E253113E-AC50-48C6-9DDC-9066785F9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404" y="4979041"/>
            <a:ext cx="5208271" cy="655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/Date/Speaker’s Name</a:t>
            </a:r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637F3A9-84C6-4BF7-B3AB-FF8C1CD713DB}"/>
              </a:ext>
            </a:extLst>
          </p:cNvPr>
          <p:cNvCxnSpPr>
            <a:cxnSpLocks/>
          </p:cNvCxnSpPr>
          <p:nvPr userDrawn="1"/>
        </p:nvCxnSpPr>
        <p:spPr>
          <a:xfrm>
            <a:off x="5781675" y="3933825"/>
            <a:ext cx="641032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2">
            <a:extLst>
              <a:ext uri="{FF2B5EF4-FFF2-40B4-BE49-F238E27FC236}">
                <a16:creationId xmlns:a16="http://schemas.microsoft.com/office/drawing/2014/main" id="{02C21305-8A77-4FF0-882C-C15D2402E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13141"/>
            <a:ext cx="4581526" cy="3520759"/>
          </a:xfrm>
          <a:prstGeom prst="rect">
            <a:avLst/>
          </a:prstGeo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5B30613-42A0-448F-80B5-E03F38D06D43}"/>
              </a:ext>
            </a:extLst>
          </p:cNvPr>
          <p:cNvCxnSpPr>
            <a:cxnSpLocks/>
          </p:cNvCxnSpPr>
          <p:nvPr userDrawn="1"/>
        </p:nvCxnSpPr>
        <p:spPr>
          <a:xfrm>
            <a:off x="-1" y="3933825"/>
            <a:ext cx="57340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6594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6400" y="109423"/>
            <a:ext cx="9954000" cy="655200"/>
          </a:xfrm>
        </p:spPr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961200" y="1256399"/>
            <a:ext cx="9806400" cy="43345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FE405-0FCB-42BD-966A-AA5C3D01C703}" type="datetime1">
              <a:rPr lang="en-US" smtClean="0"/>
              <a:t>3/26/2020</a:t>
            </a:fld>
            <a:endParaRPr lang="en-US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681E6-01DF-486B-88D7-1606FF0895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507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9419" y="109423"/>
            <a:ext cx="9489537" cy="655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2CD14-5FEC-4FDA-BD53-B20557A16058}" type="datetime1">
              <a:rPr lang="en-US" smtClean="0"/>
              <a:t>3/26/2020</a:t>
            </a:fld>
            <a:endParaRPr lang="en-US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681E6-01DF-486B-88D7-1606FF0895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996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7">
          <p15:clr>
            <a:srgbClr val="FBAE40"/>
          </p15:clr>
        </p15:guide>
        <p15:guide id="3" pos="7333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8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562D2B-2FD6-4821-BD71-1EAF1E100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562D2B-2FD6-4821-BD71-1EAF1E100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219D351-54CD-4FA4-96C9-B4A2E650D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56099663-0CBB-44FB-B1C3-80EEECBF62A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84934" y="1268414"/>
            <a:ext cx="10848109" cy="4914178"/>
          </a:xfrm>
        </p:spPr>
        <p:txBody>
          <a:bodyPr>
            <a:noAutofit/>
          </a:bodyPr>
          <a:lstStyle>
            <a:lvl1pPr>
              <a:tabLst>
                <a:tab pos="176213" algn="l"/>
              </a:tabLst>
              <a:defRPr sz="1600"/>
            </a:lvl1pPr>
            <a:lvl2pPr marL="446088" indent="-228600">
              <a:buFont typeface="Calibri" panose="020F0502020204030204" pitchFamily="34" charset="0"/>
              <a:buChar char="−"/>
              <a:tabLst>
                <a:tab pos="176213" algn="l"/>
              </a:tabLst>
              <a:defRPr sz="1600"/>
            </a:lvl2pPr>
            <a:lvl3pPr marL="717550" indent="-228600">
              <a:buFont typeface="Wingdings" panose="05000000000000000000" pitchFamily="2" charset="2"/>
              <a:buChar char="§"/>
              <a:tabLst>
                <a:tab pos="176213" algn="l"/>
              </a:tabLst>
              <a:defRPr sz="1600"/>
            </a:lvl3pPr>
            <a:lvl4pPr marL="987425" indent="-228600">
              <a:buFont typeface="Wingdings" panose="05000000000000000000" pitchFamily="2" charset="2"/>
              <a:buChar char="ü"/>
              <a:tabLst>
                <a:tab pos="176213" algn="l"/>
              </a:tabLst>
              <a:defRPr sz="1600"/>
            </a:lvl4pPr>
            <a:lvl5pPr marL="1257300" indent="-228600">
              <a:buFont typeface="Calibri" panose="020F0502020204030204" pitchFamily="34" charset="0"/>
              <a:buChar char="−"/>
              <a:tabLst>
                <a:tab pos="176213" algn="l"/>
              </a:tabLst>
              <a:defRPr sz="1600"/>
            </a:lvl5pPr>
          </a:lstStyle>
          <a:p>
            <a:pPr lvl="0"/>
            <a:r>
              <a:rPr lang="en-US" noProof="0" dirty="0"/>
              <a:t>Fill in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50BB7307-E81C-4077-B6E2-4D2B0837F5AF}"/>
              </a:ext>
            </a:extLst>
          </p:cNvPr>
          <p:cNvSpPr txBox="1"/>
          <p:nvPr userDrawn="1"/>
        </p:nvSpPr>
        <p:spPr>
          <a:xfrm rot="10800000" flipV="1">
            <a:off x="676275" y="31119"/>
            <a:ext cx="2641614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800" dirty="0">
                <a:solidFill>
                  <a:sysClr val="windowText" lastClr="000000"/>
                </a:solidFill>
              </a:rPr>
              <a:t>Page </a:t>
            </a:r>
            <a:fld id="{553CCC1E-E4C3-43B6-ADB0-B6F41F8BE836}" type="slidenum">
              <a:rPr lang="en-US" sz="800" smtClean="0">
                <a:solidFill>
                  <a:sysClr val="windowText" lastClr="000000"/>
                </a:solidFill>
              </a:rPr>
              <a:pPr algn="l"/>
              <a:t>‹#›</a:t>
            </a:fld>
            <a:endParaRPr lang="en-US" sz="800" dirty="0">
              <a:solidFill>
                <a:sysClr val="windowText" lastClr="000000"/>
              </a:solidFill>
            </a:endParaRP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8365F8F3-42AF-43A1-9A22-C105B77E07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6500" y="-721"/>
            <a:ext cx="2095500" cy="914894"/>
          </a:xfrm>
          <a:prstGeom prst="rect">
            <a:avLst/>
          </a:prstGeom>
        </p:spPr>
      </p:pic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CC80DDA8-F09B-48B2-B282-A71987DE4491}"/>
              </a:ext>
            </a:extLst>
          </p:cNvPr>
          <p:cNvCxnSpPr/>
          <p:nvPr userDrawn="1"/>
        </p:nvCxnSpPr>
        <p:spPr>
          <a:xfrm>
            <a:off x="675409" y="1018310"/>
            <a:ext cx="1085763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Plassholder for tittel 1">
            <a:extLst>
              <a:ext uri="{FF2B5EF4-FFF2-40B4-BE49-F238E27FC236}">
                <a16:creationId xmlns:a16="http://schemas.microsoft.com/office/drawing/2014/main" id="{AB1AD6B1-282B-4EED-BA40-A5236CB949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038" y="384177"/>
            <a:ext cx="9353550" cy="63500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noProof="0" dirty="0"/>
              <a:t>Click and fill in heading</a:t>
            </a:r>
          </a:p>
        </p:txBody>
      </p:sp>
    </p:spTree>
    <p:extLst>
      <p:ext uri="{BB962C8B-B14F-4D97-AF65-F5344CB8AC3E}">
        <p14:creationId xmlns:p14="http://schemas.microsoft.com/office/powerpoint/2010/main" val="1437164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63">
          <p15:clr>
            <a:srgbClr val="FBAE40"/>
          </p15:clr>
        </p15:guide>
        <p15:guide id="2" pos="42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6400" y="98537"/>
            <a:ext cx="9954000" cy="65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961200" y="1256400"/>
            <a:ext cx="9806400" cy="3765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1821534" y="6356350"/>
            <a:ext cx="1640120" cy="365125"/>
          </a:xfrm>
        </p:spPr>
        <p:txBody>
          <a:bodyPr/>
          <a:lstStyle/>
          <a:p>
            <a:fld id="{8279C77B-1660-4407-9746-491E10D3B5CC}" type="datetimeFigureOut">
              <a:rPr lang="en-GB" smtClean="0"/>
              <a:t>26/03/2020</a:t>
            </a:fld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681E6-01DF-486B-88D7-1606FF089539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64" y="5949785"/>
            <a:ext cx="1382872" cy="81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55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401202-623C-4D19-ADFD-4F22985EC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12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401202-623C-4D19-ADFD-4F22985EC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5BC78A7-9288-4624-A947-CA26A99C60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48350" y="670400"/>
            <a:ext cx="99540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8869ABA-A236-47BD-838B-98E48BAC12B3}"/>
              </a:ext>
            </a:extLst>
          </p:cNvPr>
          <p:cNvCxnSpPr>
            <a:cxnSpLocks/>
          </p:cNvCxnSpPr>
          <p:nvPr userDrawn="1"/>
        </p:nvCxnSpPr>
        <p:spPr>
          <a:xfrm>
            <a:off x="561373" y="549797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59C4AC24-9CC3-4DA5-9142-412C4D28D0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80276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F0A626-0A59-4983-BD22-4DF94327B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F0A626-0A59-4983-BD22-4DF94327B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5D0CD6-8805-4DA5-9981-EF32B3A8B1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B36F3E-9BC3-452D-967E-ECC888B48DC1}"/>
              </a:ext>
            </a:extLst>
          </p:cNvPr>
          <p:cNvCxnSpPr>
            <a:cxnSpLocks/>
          </p:cNvCxnSpPr>
          <p:nvPr userDrawn="1"/>
        </p:nvCxnSpPr>
        <p:spPr>
          <a:xfrm>
            <a:off x="561373" y="549797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ubrik 1">
            <a:extLst>
              <a:ext uri="{FF2B5EF4-FFF2-40B4-BE49-F238E27FC236}">
                <a16:creationId xmlns:a16="http://schemas.microsoft.com/office/drawing/2014/main" id="{E10A1BFB-1D4B-4DB0-BE1E-E9BEFECD4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50" y="670400"/>
            <a:ext cx="99540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A251FB8-5E28-4A01-AF51-031E018CD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8350" y="1808872"/>
            <a:ext cx="10841950" cy="55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529BE34D-3D5B-4346-92BF-92FC561B3C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8350" y="2342272"/>
            <a:ext cx="10841950" cy="36217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582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F0A626-0A59-4983-BD22-4DF94327B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680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F0A626-0A59-4983-BD22-4DF94327B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5D0CD6-8805-4DA5-9981-EF32B3A8B1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B36F3E-9BC3-452D-967E-ECC888B48DC1}"/>
              </a:ext>
            </a:extLst>
          </p:cNvPr>
          <p:cNvCxnSpPr>
            <a:cxnSpLocks/>
          </p:cNvCxnSpPr>
          <p:nvPr userDrawn="1"/>
        </p:nvCxnSpPr>
        <p:spPr>
          <a:xfrm>
            <a:off x="561373" y="549797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ubrik 1">
            <a:extLst>
              <a:ext uri="{FF2B5EF4-FFF2-40B4-BE49-F238E27FC236}">
                <a16:creationId xmlns:a16="http://schemas.microsoft.com/office/drawing/2014/main" id="{E10A1BFB-1D4B-4DB0-BE1E-E9BEFECD4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50" y="670400"/>
            <a:ext cx="99540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A251FB8-5E28-4A01-AF51-031E018CD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8350" y="1808872"/>
            <a:ext cx="5469850" cy="55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529BE34D-3D5B-4346-92BF-92FC561B3C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8350" y="2342272"/>
            <a:ext cx="5469850" cy="36217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45009D48-D218-4057-B9DF-AECB302720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70562" y="1807938"/>
            <a:ext cx="5041900" cy="41560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394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ight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6349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B36F3E-9BC3-452D-967E-ECC888B48DC1}"/>
              </a:ext>
            </a:extLst>
          </p:cNvPr>
          <p:cNvCxnSpPr>
            <a:cxnSpLocks/>
          </p:cNvCxnSpPr>
          <p:nvPr userDrawn="1"/>
        </p:nvCxnSpPr>
        <p:spPr>
          <a:xfrm>
            <a:off x="6187473" y="1311797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2C1BC608-77C8-41E7-899A-6A8254794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394300"/>
            <a:ext cx="45085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A5591E-CF8D-4FE0-92B5-65F490065E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86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CE0BEF7-0B26-4AB0-8F56-054E2A4486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2405772"/>
            <a:ext cx="5486400" cy="4713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32E1FAB-E4F5-455A-8115-06BD2A35C6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2939173"/>
            <a:ext cx="5486400" cy="3055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7828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ight Title(no text/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646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B36F3E-9BC3-452D-967E-ECC888B48DC1}"/>
              </a:ext>
            </a:extLst>
          </p:cNvPr>
          <p:cNvCxnSpPr>
            <a:cxnSpLocks/>
          </p:cNvCxnSpPr>
          <p:nvPr userDrawn="1"/>
        </p:nvCxnSpPr>
        <p:spPr>
          <a:xfrm>
            <a:off x="6187473" y="2826272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2C1BC608-77C8-41E7-899A-6A8254794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2908775"/>
            <a:ext cx="45085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715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ight Content with Tile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B36F3E-9BC3-452D-967E-ECC888B48DC1}"/>
              </a:ext>
            </a:extLst>
          </p:cNvPr>
          <p:cNvCxnSpPr>
            <a:cxnSpLocks/>
          </p:cNvCxnSpPr>
          <p:nvPr userDrawn="1"/>
        </p:nvCxnSpPr>
        <p:spPr>
          <a:xfrm>
            <a:off x="6187473" y="1311797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2C1BC608-77C8-41E7-899A-6A8254794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394300"/>
            <a:ext cx="45085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slide title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CE0BEF7-0B26-4AB0-8F56-054E2A4486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2405772"/>
            <a:ext cx="5486400" cy="4713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32E1FAB-E4F5-455A-8115-06BD2A35C6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2939173"/>
            <a:ext cx="5486400" cy="3055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6C1218-A475-474E-870D-7A6D90B6B477}"/>
              </a:ext>
            </a:extLst>
          </p:cNvPr>
          <p:cNvSpPr/>
          <p:nvPr userDrawn="1"/>
        </p:nvSpPr>
        <p:spPr>
          <a:xfrm>
            <a:off x="0" y="0"/>
            <a:ext cx="5478780" cy="1724629"/>
          </a:xfrm>
          <a:prstGeom prst="rect">
            <a:avLst/>
          </a:prstGeom>
          <a:solidFill>
            <a:schemeClr val="tx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b="1" dirty="0">
              <a:cs typeface="Segoe U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9CDA227-7CF1-4807-A794-B818F9407710}"/>
              </a:ext>
            </a:extLst>
          </p:cNvPr>
          <p:cNvSpPr/>
          <p:nvPr userDrawn="1"/>
        </p:nvSpPr>
        <p:spPr>
          <a:xfrm>
            <a:off x="0" y="1724629"/>
            <a:ext cx="5478780" cy="1724629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>
              <a:cs typeface="Segoe UI"/>
            </a:endParaRPr>
          </a:p>
          <a:p>
            <a:endParaRPr lang="en-GB" b="1" dirty="0">
              <a:cs typeface="Segoe UI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C5BA722-EB8D-48B5-BF26-48E579DD651A}"/>
              </a:ext>
            </a:extLst>
          </p:cNvPr>
          <p:cNvSpPr/>
          <p:nvPr userDrawn="1"/>
        </p:nvSpPr>
        <p:spPr>
          <a:xfrm>
            <a:off x="0" y="3449257"/>
            <a:ext cx="5478780" cy="1724629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D7307C9-F0E9-40A5-9745-5729F58F6C6B}"/>
              </a:ext>
            </a:extLst>
          </p:cNvPr>
          <p:cNvSpPr/>
          <p:nvPr userDrawn="1"/>
        </p:nvSpPr>
        <p:spPr>
          <a:xfrm>
            <a:off x="0" y="5173886"/>
            <a:ext cx="5478780" cy="1684115"/>
          </a:xfrm>
          <a:prstGeom prst="rect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6EDC24F-1589-48E9-BA1E-609C91BE69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4158" y="626619"/>
            <a:ext cx="5006492" cy="47139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3724A75-907B-4BB0-B7A7-CCC1D91838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4158" y="2405772"/>
            <a:ext cx="5006492" cy="47139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1C45C0A-45E9-432F-BCE6-CABE4FE0D8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4158" y="4231091"/>
            <a:ext cx="5006492" cy="47139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3805E4-9398-4A62-AE72-E04134AED8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6144" y="5805891"/>
            <a:ext cx="5006492" cy="47139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0240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9687C5-176F-4D4A-B356-376BEF30F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975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9687C5-176F-4D4A-B356-376BEF30F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5CA133-21E2-47F9-A400-BEECFEF7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FA59B8E-8FF4-4283-97DD-DF4808B514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0575" y="1722438"/>
            <a:ext cx="5305425" cy="20113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E272F94-A895-48E4-AD16-6F84B92A31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CE0BEF7-0B26-4AB0-8F56-054E2A4486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0956" y="4069081"/>
            <a:ext cx="5305044" cy="4713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32E1FAB-E4F5-455A-8115-06BD2A35C6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0956" y="4602482"/>
            <a:ext cx="5305044" cy="1601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FA2E9A-55DF-43EE-A5A8-B68826219AEA}"/>
              </a:ext>
            </a:extLst>
          </p:cNvPr>
          <p:cNvCxnSpPr>
            <a:cxnSpLocks/>
          </p:cNvCxnSpPr>
          <p:nvPr userDrawn="1"/>
        </p:nvCxnSpPr>
        <p:spPr>
          <a:xfrm>
            <a:off x="790956" y="3901440"/>
            <a:ext cx="530504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9DDD93C-73F1-4B83-B000-64DFB227194A}"/>
              </a:ext>
            </a:extLst>
          </p:cNvPr>
          <p:cNvCxnSpPr>
            <a:cxnSpLocks/>
          </p:cNvCxnSpPr>
          <p:nvPr userDrawn="1"/>
        </p:nvCxnSpPr>
        <p:spPr>
          <a:xfrm>
            <a:off x="561373" y="549797"/>
            <a:ext cx="112274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ubrik 1">
            <a:extLst>
              <a:ext uri="{FF2B5EF4-FFF2-40B4-BE49-F238E27FC236}">
                <a16:creationId xmlns:a16="http://schemas.microsoft.com/office/drawing/2014/main" id="{6616F8B7-BEE6-427E-9DA3-6DDA30457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50" y="670400"/>
            <a:ext cx="9954000" cy="6552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FEEA8B2E-DD08-4A5D-8866-F3BBA585C94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5075" y="1722438"/>
            <a:ext cx="5305425" cy="20113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1CE5FDA-7313-43FE-8F38-CB8B619A5B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5456" y="4069081"/>
            <a:ext cx="5305044" cy="4713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77601774-C724-4AA3-80FD-C876C6C8E75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15456" y="4602482"/>
            <a:ext cx="5305044" cy="16014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C534B9-4617-4AB7-B2B9-C2E9E5971614}"/>
              </a:ext>
            </a:extLst>
          </p:cNvPr>
          <p:cNvCxnSpPr>
            <a:cxnSpLocks/>
          </p:cNvCxnSpPr>
          <p:nvPr userDrawn="1"/>
        </p:nvCxnSpPr>
        <p:spPr>
          <a:xfrm>
            <a:off x="6315456" y="3901440"/>
            <a:ext cx="530504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901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8AF79A-AA30-47EB-8DB2-249F09FE9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846539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7" imgW="408" imgH="408" progId="TCLayout.ActiveDocument.1">
                  <p:embed/>
                </p:oleObj>
              </mc:Choice>
              <mc:Fallback>
                <p:oleObj name="think-cell Slide" r:id="rId27" imgW="408" imgH="40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D8AF79A-AA30-47EB-8DB2-249F09FE9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2F7AA92-238C-4DD4-9D64-9C842B511B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065" y="82903"/>
            <a:ext cx="1771074" cy="65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69395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20" r:id="rId2"/>
    <p:sldLayoutId id="2147483665" r:id="rId3"/>
    <p:sldLayoutId id="2147483703" r:id="rId4"/>
    <p:sldLayoutId id="2147483666" r:id="rId5"/>
    <p:sldLayoutId id="2147483702" r:id="rId6"/>
    <p:sldLayoutId id="2147483716" r:id="rId7"/>
    <p:sldLayoutId id="2147483708" r:id="rId8"/>
    <p:sldLayoutId id="2147483709" r:id="rId9"/>
    <p:sldLayoutId id="2147483707" r:id="rId10"/>
    <p:sldLayoutId id="2147483719" r:id="rId11"/>
    <p:sldLayoutId id="2147483721" r:id="rId12"/>
    <p:sldLayoutId id="2147483722" r:id="rId13"/>
    <p:sldLayoutId id="2147483704" r:id="rId14"/>
    <p:sldLayoutId id="2147483705" r:id="rId15"/>
    <p:sldLayoutId id="2147483706" r:id="rId16"/>
    <p:sldLayoutId id="2147483710" r:id="rId17"/>
    <p:sldLayoutId id="2147483717" r:id="rId18"/>
    <p:sldLayoutId id="2147483752" r:id="rId19"/>
    <p:sldLayoutId id="2147483753" r:id="rId20"/>
    <p:sldLayoutId id="2147483754" r:id="rId21"/>
    <p:sldLayoutId id="2147483755" r:id="rId22"/>
    <p:sldLayoutId id="2147483756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rayonGroup/Azure-DevOps-Take-home-assignment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9C549B-CD7E-47C0-8EB2-1EC233F7A2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 err="1"/>
              <a:t>Take</a:t>
            </a:r>
            <a:r>
              <a:rPr lang="sv-SE" dirty="0"/>
              <a:t> </a:t>
            </a:r>
            <a:r>
              <a:rPr lang="sv-SE" dirty="0" err="1"/>
              <a:t>home</a:t>
            </a:r>
            <a:r>
              <a:rPr lang="sv-SE" dirty="0"/>
              <a:t> </a:t>
            </a:r>
            <a:r>
              <a:rPr lang="sv-SE" dirty="0" err="1"/>
              <a:t>assignment</a:t>
            </a:r>
            <a:endParaRPr lang="sv-S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CB136-451C-43E9-9F4B-56FE2441A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zure</a:t>
            </a:r>
            <a:r>
              <a:rPr lang="sv-SE" dirty="0"/>
              <a:t> </a:t>
            </a:r>
            <a:r>
              <a:rPr lang="sv-SE" dirty="0" err="1"/>
              <a:t>DevOps</a:t>
            </a:r>
            <a:r>
              <a:rPr lang="sv-SE" dirty="0"/>
              <a:t> </a:t>
            </a:r>
            <a:r>
              <a:rPr lang="sv-SE" dirty="0" err="1"/>
              <a:t>cas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0341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8A560-112C-4A49-9A67-2E1FCFFF55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zure</a:t>
            </a:r>
            <a:r>
              <a:rPr lang="sv-SE" dirty="0"/>
              <a:t> </a:t>
            </a:r>
            <a:r>
              <a:rPr lang="sv-SE" dirty="0" err="1"/>
              <a:t>DevOps</a:t>
            </a:r>
            <a:r>
              <a:rPr lang="sv-SE" dirty="0"/>
              <a:t> </a:t>
            </a:r>
            <a:r>
              <a:rPr lang="sv-SE" dirty="0" err="1"/>
              <a:t>case</a:t>
            </a:r>
            <a:endParaRPr lang="sv-S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2785A2-19CE-4688-AE78-38C4795CD7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dirty="0" err="1"/>
              <a:t>Introduction</a:t>
            </a:r>
            <a:endParaRPr lang="sv-S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1E9DE3-1563-4BF6-9380-9DD0D3F7884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sv-SE" dirty="0"/>
              <a:t>In </a:t>
            </a:r>
            <a:r>
              <a:rPr lang="sv-SE" dirty="0" err="1"/>
              <a:t>this</a:t>
            </a:r>
            <a:r>
              <a:rPr lang="sv-SE" dirty="0"/>
              <a:t> </a:t>
            </a:r>
            <a:r>
              <a:rPr lang="sv-SE" dirty="0" err="1"/>
              <a:t>assignment</a:t>
            </a:r>
            <a:r>
              <a:rPr lang="sv-SE" dirty="0"/>
              <a:t> </a:t>
            </a:r>
            <a:r>
              <a:rPr lang="sv-SE" dirty="0" err="1"/>
              <a:t>you</a:t>
            </a:r>
            <a:r>
              <a:rPr lang="sv-SE" dirty="0"/>
              <a:t> </a:t>
            </a:r>
            <a:r>
              <a:rPr lang="sv-SE" dirty="0" err="1"/>
              <a:t>will</a:t>
            </a:r>
            <a:r>
              <a:rPr lang="sv-SE" dirty="0"/>
              <a:t> </a:t>
            </a:r>
            <a:r>
              <a:rPr lang="sv-SE" dirty="0" err="1"/>
              <a:t>take</a:t>
            </a:r>
            <a:r>
              <a:rPr lang="sv-SE" dirty="0"/>
              <a:t> </a:t>
            </a:r>
            <a:r>
              <a:rPr lang="sv-SE" dirty="0" err="1"/>
              <a:t>us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Infrastructure</a:t>
            </a:r>
            <a:r>
              <a:rPr lang="sv-SE" dirty="0"/>
              <a:t> As </a:t>
            </a:r>
            <a:r>
              <a:rPr lang="sv-SE" dirty="0" err="1"/>
              <a:t>Code</a:t>
            </a:r>
            <a:r>
              <a:rPr lang="sv-SE" dirty="0"/>
              <a:t>, a </a:t>
            </a:r>
            <a:r>
              <a:rPr lang="sv-SE" dirty="0" err="1"/>
              <a:t>concept</a:t>
            </a:r>
            <a:r>
              <a:rPr lang="sv-SE" dirty="0"/>
              <a:t> </a:t>
            </a:r>
            <a:r>
              <a:rPr lang="sv-SE" dirty="0" err="1"/>
              <a:t>that</a:t>
            </a:r>
            <a:r>
              <a:rPr lang="sv-SE" dirty="0"/>
              <a:t> is an </a:t>
            </a:r>
            <a:r>
              <a:rPr lang="sv-SE" dirty="0" err="1"/>
              <a:t>important</a:t>
            </a:r>
            <a:r>
              <a:rPr lang="sv-SE" dirty="0"/>
              <a:t> part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cloud</a:t>
            </a:r>
            <a:r>
              <a:rPr lang="sv-SE" dirty="0"/>
              <a:t> </a:t>
            </a:r>
            <a:r>
              <a:rPr lang="sv-SE" dirty="0" err="1"/>
              <a:t>development</a:t>
            </a:r>
            <a:r>
              <a:rPr lang="sv-SE" dirty="0"/>
              <a:t>.</a:t>
            </a:r>
          </a:p>
          <a:p>
            <a:r>
              <a:rPr lang="sv-SE" dirty="0"/>
              <a:t>The </a:t>
            </a:r>
            <a:r>
              <a:rPr lang="sv-SE" dirty="0" err="1"/>
              <a:t>technology</a:t>
            </a:r>
            <a:r>
              <a:rPr lang="sv-SE" dirty="0"/>
              <a:t> for </a:t>
            </a:r>
            <a:r>
              <a:rPr lang="sv-SE" dirty="0" err="1"/>
              <a:t>deploying</a:t>
            </a:r>
            <a:r>
              <a:rPr lang="sv-SE" dirty="0"/>
              <a:t> </a:t>
            </a:r>
            <a:r>
              <a:rPr lang="sv-SE" dirty="0" err="1"/>
              <a:t>infrastructure</a:t>
            </a:r>
            <a:r>
              <a:rPr lang="sv-SE" dirty="0"/>
              <a:t> </a:t>
            </a:r>
            <a:r>
              <a:rPr lang="sv-SE" dirty="0" err="1"/>
              <a:t>will</a:t>
            </a:r>
            <a:r>
              <a:rPr lang="sv-SE" dirty="0"/>
              <a:t> be </a:t>
            </a:r>
            <a:r>
              <a:rPr lang="sv-SE" dirty="0" err="1"/>
              <a:t>Azure</a:t>
            </a:r>
            <a:r>
              <a:rPr lang="sv-SE" dirty="0"/>
              <a:t> </a:t>
            </a:r>
            <a:r>
              <a:rPr lang="sv-SE" dirty="0" err="1"/>
              <a:t>Resource</a:t>
            </a:r>
            <a:r>
              <a:rPr lang="sv-SE" dirty="0"/>
              <a:t> Manager or ARM templates.</a:t>
            </a:r>
          </a:p>
          <a:p>
            <a:r>
              <a:rPr lang="sv-SE" dirty="0" err="1"/>
              <a:t>Since</a:t>
            </a:r>
            <a:r>
              <a:rPr lang="sv-SE" dirty="0"/>
              <a:t>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most</a:t>
            </a:r>
            <a:r>
              <a:rPr lang="sv-SE" dirty="0"/>
              <a:t> </a:t>
            </a:r>
            <a:r>
              <a:rPr lang="sv-SE" dirty="0" err="1"/>
              <a:t>often</a:t>
            </a:r>
            <a:r>
              <a:rPr lang="sv-SE" dirty="0"/>
              <a:t> </a:t>
            </a:r>
            <a:r>
              <a:rPr lang="sv-SE" dirty="0" err="1"/>
              <a:t>want</a:t>
            </a:r>
            <a:r>
              <a:rPr lang="sv-SE" dirty="0"/>
              <a:t> to </a:t>
            </a:r>
            <a:r>
              <a:rPr lang="sv-SE" dirty="0" err="1"/>
              <a:t>reuse</a:t>
            </a:r>
            <a:r>
              <a:rPr lang="sv-SE" dirty="0"/>
              <a:t> </a:t>
            </a:r>
            <a:r>
              <a:rPr lang="sv-SE" dirty="0" err="1"/>
              <a:t>already</a:t>
            </a:r>
            <a:r>
              <a:rPr lang="sv-SE" dirty="0"/>
              <a:t> </a:t>
            </a:r>
            <a:r>
              <a:rPr lang="sv-SE" dirty="0" err="1"/>
              <a:t>existing</a:t>
            </a:r>
            <a:r>
              <a:rPr lang="sv-SE" dirty="0"/>
              <a:t> ARM-templates </a:t>
            </a:r>
            <a:r>
              <a:rPr lang="sv-SE" dirty="0" err="1"/>
              <a:t>within</a:t>
            </a:r>
            <a:r>
              <a:rPr lang="sv-SE" dirty="0"/>
              <a:t>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organization</a:t>
            </a:r>
            <a:r>
              <a:rPr lang="sv-SE" dirty="0"/>
              <a:t>, </a:t>
            </a:r>
            <a:r>
              <a:rPr lang="sv-SE" dirty="0" err="1"/>
              <a:t>where</a:t>
            </a:r>
            <a:r>
              <a:rPr lang="sv-SE" dirty="0"/>
              <a:t> the </a:t>
            </a:r>
            <a:r>
              <a:rPr lang="sv-SE" dirty="0" err="1"/>
              <a:t>naming</a:t>
            </a:r>
            <a:r>
              <a:rPr lang="sv-SE" dirty="0"/>
              <a:t> </a:t>
            </a:r>
            <a:r>
              <a:rPr lang="sv-SE" dirty="0" err="1"/>
              <a:t>conventions</a:t>
            </a:r>
            <a:r>
              <a:rPr lang="sv-SE" dirty="0"/>
              <a:t> is </a:t>
            </a:r>
            <a:r>
              <a:rPr lang="sv-SE" dirty="0" err="1"/>
              <a:t>implemented</a:t>
            </a:r>
            <a:r>
              <a:rPr lang="sv-SE" dirty="0"/>
              <a:t>, </a:t>
            </a:r>
            <a:r>
              <a:rPr lang="sv-SE" dirty="0" err="1"/>
              <a:t>you</a:t>
            </a:r>
            <a:r>
              <a:rPr lang="sv-SE" dirty="0"/>
              <a:t> </a:t>
            </a:r>
            <a:r>
              <a:rPr lang="sv-SE" dirty="0" err="1"/>
              <a:t>will</a:t>
            </a:r>
            <a:r>
              <a:rPr lang="sv-SE" dirty="0"/>
              <a:t> be </a:t>
            </a:r>
            <a:r>
              <a:rPr lang="sv-SE" dirty="0" err="1"/>
              <a:t>provided</a:t>
            </a:r>
            <a:r>
              <a:rPr lang="sv-SE" dirty="0"/>
              <a:t> </a:t>
            </a:r>
            <a:r>
              <a:rPr lang="sv-SE" dirty="0" err="1"/>
              <a:t>with</a:t>
            </a:r>
            <a:r>
              <a:rPr lang="sv-SE" dirty="0"/>
              <a:t> a </a:t>
            </a:r>
            <a:r>
              <a:rPr lang="sv-SE" dirty="0" err="1"/>
              <a:t>coupl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templates for </a:t>
            </a:r>
            <a:r>
              <a:rPr lang="sv-SE" dirty="0" err="1"/>
              <a:t>creating</a:t>
            </a:r>
            <a:r>
              <a:rPr lang="sv-SE" dirty="0"/>
              <a:t> an </a:t>
            </a:r>
            <a:r>
              <a:rPr lang="sv-SE" dirty="0" err="1"/>
              <a:t>Application</a:t>
            </a:r>
            <a:r>
              <a:rPr lang="sv-SE" dirty="0"/>
              <a:t> </a:t>
            </a:r>
            <a:r>
              <a:rPr lang="sv-SE" dirty="0" err="1"/>
              <a:t>Insights</a:t>
            </a:r>
            <a:r>
              <a:rPr lang="sv-SE" dirty="0"/>
              <a:t>, </a:t>
            </a:r>
            <a:r>
              <a:rPr lang="sv-SE" dirty="0" err="1"/>
              <a:t>App</a:t>
            </a:r>
            <a:r>
              <a:rPr lang="sv-SE" dirty="0"/>
              <a:t> Service Plan and </a:t>
            </a:r>
            <a:r>
              <a:rPr lang="sv-SE" dirty="0" err="1"/>
              <a:t>App</a:t>
            </a:r>
            <a:r>
              <a:rPr lang="sv-SE" dirty="0"/>
              <a:t> Service.</a:t>
            </a:r>
          </a:p>
          <a:p>
            <a:r>
              <a:rPr lang="sv-SE" dirty="0" err="1"/>
              <a:t>Your</a:t>
            </a:r>
            <a:r>
              <a:rPr lang="sv-SE" dirty="0"/>
              <a:t> task is to </a:t>
            </a:r>
            <a:r>
              <a:rPr lang="sv-SE" dirty="0" err="1"/>
              <a:t>complete</a:t>
            </a:r>
            <a:r>
              <a:rPr lang="sv-SE" dirty="0"/>
              <a:t> the master template (</a:t>
            </a:r>
            <a:r>
              <a:rPr lang="sv-SE" dirty="0" err="1"/>
              <a:t>sof-exchangerate.json</a:t>
            </a:r>
            <a:r>
              <a:rPr lang="sv-SE" dirty="0"/>
              <a:t>) and the parameter </a:t>
            </a:r>
            <a:r>
              <a:rPr lang="sv-SE" dirty="0" err="1"/>
              <a:t>file</a:t>
            </a:r>
            <a:r>
              <a:rPr lang="sv-SE" dirty="0"/>
              <a:t> (</a:t>
            </a:r>
            <a:r>
              <a:rPr lang="sv-SE" dirty="0" err="1"/>
              <a:t>sof</a:t>
            </a:r>
            <a:r>
              <a:rPr lang="sv-SE" dirty="0"/>
              <a:t>-</a:t>
            </a:r>
            <a:r>
              <a:rPr lang="sv-SE" dirty="0" err="1"/>
              <a:t>exchangerate</a:t>
            </a:r>
            <a:r>
              <a:rPr lang="sv-SE" dirty="0"/>
              <a:t>-dit-</a:t>
            </a:r>
            <a:r>
              <a:rPr lang="sv-SE" dirty="0" err="1"/>
              <a:t>parameters.json</a:t>
            </a:r>
            <a:r>
              <a:rPr lang="sv-SE" dirty="0"/>
              <a:t>) to </a:t>
            </a:r>
            <a:r>
              <a:rPr lang="sv-SE" dirty="0" err="1"/>
              <a:t>create</a:t>
            </a:r>
            <a:r>
              <a:rPr lang="sv-SE" dirty="0"/>
              <a:t> a </a:t>
            </a:r>
            <a:r>
              <a:rPr lang="sv-SE" dirty="0" err="1"/>
              <a:t>hosting</a:t>
            </a:r>
            <a:r>
              <a:rPr lang="sv-SE" dirty="0"/>
              <a:t> </a:t>
            </a:r>
            <a:r>
              <a:rPr lang="sv-SE" dirty="0" err="1"/>
              <a:t>environment</a:t>
            </a:r>
            <a:r>
              <a:rPr lang="sv-SE" dirty="0"/>
              <a:t> for </a:t>
            </a:r>
            <a:r>
              <a:rPr lang="sv-SE" dirty="0" err="1"/>
              <a:t>your</a:t>
            </a:r>
            <a:r>
              <a:rPr lang="sv-SE" dirty="0"/>
              <a:t> </a:t>
            </a:r>
            <a:r>
              <a:rPr lang="sv-SE" dirty="0" err="1"/>
              <a:t>exchange</a:t>
            </a:r>
            <a:r>
              <a:rPr lang="sv-SE" dirty="0"/>
              <a:t> rate </a:t>
            </a:r>
            <a:r>
              <a:rPr lang="sv-SE" dirty="0" err="1"/>
              <a:t>api</a:t>
            </a:r>
            <a:r>
              <a:rPr lang="sv-SE" dirty="0"/>
              <a:t> </a:t>
            </a:r>
            <a:r>
              <a:rPr lang="sv-SE" dirty="0" err="1"/>
              <a:t>using</a:t>
            </a:r>
            <a:r>
              <a:rPr lang="sv-SE" dirty="0"/>
              <a:t> the </a:t>
            </a:r>
            <a:r>
              <a:rPr lang="sv-SE" dirty="0" err="1"/>
              <a:t>preprepared</a:t>
            </a:r>
            <a:r>
              <a:rPr lang="sv-SE" dirty="0"/>
              <a:t> </a:t>
            </a:r>
            <a:r>
              <a:rPr lang="sv-SE" dirty="0" err="1"/>
              <a:t>organization</a:t>
            </a:r>
            <a:r>
              <a:rPr lang="sv-SE" dirty="0"/>
              <a:t> templates.</a:t>
            </a:r>
          </a:p>
          <a:p>
            <a:r>
              <a:rPr lang="sv-SE" dirty="0" err="1"/>
              <a:t>Starting</a:t>
            </a:r>
            <a:r>
              <a:rPr lang="sv-SE" dirty="0"/>
              <a:t> solution is </a:t>
            </a:r>
            <a:r>
              <a:rPr lang="sv-SE" dirty="0" err="1"/>
              <a:t>avalible</a:t>
            </a:r>
            <a:r>
              <a:rPr lang="sv-SE" dirty="0"/>
              <a:t> to </a:t>
            </a:r>
            <a:r>
              <a:rPr lang="sv-SE" dirty="0" err="1"/>
              <a:t>fork</a:t>
            </a:r>
            <a:r>
              <a:rPr lang="sv-SE" dirty="0"/>
              <a:t> </a:t>
            </a:r>
            <a:r>
              <a:rPr lang="sv-SE" dirty="0" err="1"/>
              <a:t>here</a:t>
            </a:r>
            <a:r>
              <a:rPr lang="sv-SE" dirty="0"/>
              <a:t>: </a:t>
            </a:r>
            <a:r>
              <a:rPr lang="sv-SE" sz="1400" dirty="0">
                <a:hlinkClick r:id="rId2"/>
              </a:rPr>
              <a:t>https://github.com/CrayonGroup/Azure-DevOps-Take-home-assignment</a:t>
            </a:r>
            <a:endParaRPr lang="sv-SE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BAF87F1-451D-4F2E-A954-AA945D22107C}"/>
              </a:ext>
            </a:extLst>
          </p:cNvPr>
          <p:cNvSpPr txBox="1">
            <a:spLocks/>
          </p:cNvSpPr>
          <p:nvPr/>
        </p:nvSpPr>
        <p:spPr>
          <a:xfrm>
            <a:off x="6273802" y="1808872"/>
            <a:ext cx="5469850" cy="558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 err="1"/>
              <a:t>Requirements</a:t>
            </a:r>
            <a:endParaRPr lang="sv-SE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3A2C1290-9705-47FF-871C-7283F354B5CD}"/>
              </a:ext>
            </a:extLst>
          </p:cNvPr>
          <p:cNvSpPr txBox="1">
            <a:spLocks/>
          </p:cNvSpPr>
          <p:nvPr/>
        </p:nvSpPr>
        <p:spPr>
          <a:xfrm>
            <a:off x="6273802" y="2342271"/>
            <a:ext cx="5469850" cy="41464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ut your source code in a repository, and send us the information we need to access it. We suggest you use a public repo on </a:t>
            </a:r>
            <a:r>
              <a:rPr lang="en-US" dirty="0" err="1"/>
              <a:t>github</a:t>
            </a:r>
            <a:r>
              <a:rPr lang="en-US" dirty="0"/>
              <a:t>.</a:t>
            </a:r>
            <a:br>
              <a:rPr lang="en-US" dirty="0"/>
            </a:br>
            <a:endParaRPr lang="en-US" dirty="0"/>
          </a:p>
          <a:p>
            <a:r>
              <a:rPr lang="en-US" dirty="0"/>
              <a:t>We also expect to run your code via the command line provided in the </a:t>
            </a:r>
            <a:r>
              <a:rPr lang="en-US" dirty="0" err="1"/>
              <a:t>powershell</a:t>
            </a:r>
            <a:r>
              <a:rPr lang="en-US" dirty="0"/>
              <a:t> script New-ScaleUnitDeployment.ps1.</a:t>
            </a:r>
            <a:br>
              <a:rPr lang="en-US" dirty="0"/>
            </a:br>
            <a:endParaRPr lang="en-US" dirty="0"/>
          </a:p>
          <a:p>
            <a:r>
              <a:rPr lang="en-US" dirty="0"/>
              <a:t>We expect your deployment solution to be fully functional setting up the components for the scale unit, but you should time-box this assignment to a maximum of 3 hours.</a:t>
            </a:r>
            <a:br>
              <a:rPr lang="en-US" dirty="0"/>
            </a:br>
            <a:endParaRPr lang="en-US" dirty="0"/>
          </a:p>
          <a:p>
            <a:r>
              <a:rPr lang="en-US" dirty="0"/>
              <a:t>Your solution should use Azure Resource Manager templates and reuse existing templates already created by the organization.</a:t>
            </a:r>
            <a:br>
              <a:rPr lang="en-US" dirty="0"/>
            </a:br>
            <a:endParaRPr lang="sv-SE" dirty="0"/>
          </a:p>
          <a:p>
            <a:r>
              <a:rPr lang="en-US" dirty="0"/>
              <a:t>Good luck, and happy coding!</a:t>
            </a:r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75541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11EB3B-200F-4784-B5F0-220462FAE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nd </a:t>
            </a:r>
            <a:r>
              <a:rPr lang="sv-SE" dirty="0" err="1"/>
              <a:t>result</a:t>
            </a:r>
            <a:endParaRPr lang="sv-S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810EA63-BA61-4A3B-A246-824AA206EFE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357114" y="2086586"/>
            <a:ext cx="9477772" cy="36226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3FAE22B-AEFA-4CED-89CD-1D3074079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350" y="1706391"/>
            <a:ext cx="11363349" cy="4352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827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q8gjuT53IIKPoqtKpp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q8gjuT53IIKPoqtKpp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iL0BniirdcHlwtfM_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XmXbDOC9CrEct6ikbY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.SNx_ZSaGQ8kDa_fxR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6LSR6RR5ivJVkuvU0w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XmXbDOC9CrEct6ikbY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vJT_RTJhq2fkw1zC1h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ayon">
  <a:themeElements>
    <a:clrScheme name="Anpassa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7071E"/>
      </a:accent1>
      <a:accent2>
        <a:srgbClr val="BDBEC1"/>
      </a:accent2>
      <a:accent3>
        <a:srgbClr val="000000"/>
      </a:accent3>
      <a:accent4>
        <a:srgbClr val="86C3E8"/>
      </a:accent4>
      <a:accent5>
        <a:srgbClr val="DCDCDC"/>
      </a:accent5>
      <a:accent6>
        <a:srgbClr val="D7ECF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ayon Wide Screen Format 2015 smaller pictures ver 8 Final" id="{68E5A6C0-D517-4396-ACA3-A1D1A3D19F30}" vid="{1A642E9B-8CAF-4CDD-AE90-68E8A08EA0A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2D08EC09CEAF46BBFE75EFF0A573B1" ma:contentTypeVersion="10" ma:contentTypeDescription="Create a new document." ma:contentTypeScope="" ma:versionID="af0db571fee6e0db5adb11ec56cc5f99">
  <xsd:schema xmlns:xsd="http://www.w3.org/2001/XMLSchema" xmlns:xs="http://www.w3.org/2001/XMLSchema" xmlns:p="http://schemas.microsoft.com/office/2006/metadata/properties" xmlns:ns2="36af9a63-6d8b-4925-b8a9-d1992d5d893f" xmlns:ns3="42ffbeef-d535-4377-b990-8ddf73d28161" targetNamespace="http://schemas.microsoft.com/office/2006/metadata/properties" ma:root="true" ma:fieldsID="9a64766cee75200b7f321962538b48f4" ns2:_="" ns3:_="">
    <xsd:import namespace="36af9a63-6d8b-4925-b8a9-d1992d5d893f"/>
    <xsd:import namespace="42ffbeef-d535-4377-b990-8ddf73d2816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Sprint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af9a63-6d8b-4925-b8a9-d1992d5d893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ffbeef-d535-4377-b990-8ddf73d281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Sprint" ma:index="15" nillable="true" ma:displayName="Sprint" ma:description="Relevant sprint" ma:list="{d06c2fa6-f05b-4b5f-bcd8-d28b98d27b1e}" ma:internalName="Sprint" ma:showField="Title">
      <xsd:simpleType>
        <xsd:restriction base="dms:Lookup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rint xmlns="42ffbeef-d535-4377-b990-8ddf73d28161" xsi:nil="true"/>
    <SharedWithUsers xmlns="36af9a63-6d8b-4925-b8a9-d1992d5d893f">
      <UserInfo>
        <DisplayName>Nabil Chebbi</DisplayName>
        <AccountId>328</AccountId>
        <AccountType/>
      </UserInfo>
      <UserInfo>
        <DisplayName>Melanie Coffee</DisplayName>
        <AccountId>1213</AccountId>
        <AccountType/>
      </UserInfo>
      <UserInfo>
        <DisplayName>Christoffer Wincrantz</DisplayName>
        <AccountId>561</AccountId>
        <AccountType/>
      </UserInfo>
      <UserInfo>
        <DisplayName>Freyr Omarsson</DisplayName>
        <AccountId>98</AccountId>
        <AccountType/>
      </UserInfo>
      <UserInfo>
        <DisplayName>Sebastian Marghella</DisplayName>
        <AccountId>6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0B61A8C-5BD6-4049-956F-7904642D01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C96259-DD48-4838-9FAD-49E8EDB3E5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af9a63-6d8b-4925-b8a9-d1992d5d893f"/>
    <ds:schemaRef ds:uri="42ffbeef-d535-4377-b990-8ddf73d281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EC975F-9B9C-43CE-BA7D-8E9DF7B67688}">
  <ds:schemaRefs>
    <ds:schemaRef ds:uri="http://purl.org/dc/elements/1.1/"/>
    <ds:schemaRef ds:uri="http://schemas.microsoft.com/office/2006/metadata/properties"/>
    <ds:schemaRef ds:uri="36af9a63-6d8b-4925-b8a9-d1992d5d893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2ffbeef-d535-4377-b990-8ddf73d2816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27</TotalTime>
  <Words>257</Words>
  <Application>Microsoft Office PowerPoint</Application>
  <PresentationFormat>Widescreen</PresentationFormat>
  <Paragraphs>1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Bahnschrift</vt:lpstr>
      <vt:lpstr>Calibri</vt:lpstr>
      <vt:lpstr>Wingdings</vt:lpstr>
      <vt:lpstr>Crayon</vt:lpstr>
      <vt:lpstr>think-cell Slide</vt:lpstr>
      <vt:lpstr>Azure DevOps case</vt:lpstr>
      <vt:lpstr>Azure DevOps case</vt:lpstr>
      <vt:lpstr>End resul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evOps case</dc:title>
  <dc:creator>Mattias Ödlund</dc:creator>
  <cp:lastModifiedBy>Martin Dahlstedt</cp:lastModifiedBy>
  <cp:revision>17</cp:revision>
  <dcterms:modified xsi:type="dcterms:W3CDTF">2020-03-29T12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2D08EC09CEAF46BBFE75EFF0A573B1</vt:lpwstr>
  </property>
  <property fmtid="{D5CDD505-2E9C-101B-9397-08002B2CF9AE}" pid="3" name="SharedWithUsers">
    <vt:lpwstr>328;#Nabil Chebbi;#1213;#Melanie Coffee;#561;#Christoffer Wincrantz;#98;#Freyr Omarsson;#60;#Sebastian Marghella</vt:lpwstr>
  </property>
</Properties>
</file>